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5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6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444444"/>
    <a:srgbClr val="5A5A5A"/>
    <a:srgbClr val="767676"/>
    <a:srgbClr val="B7B7B7"/>
    <a:srgbClr val="DCDCDC"/>
    <a:srgbClr val="8D8D8D"/>
    <a:srgbClr val="C60018"/>
    <a:srgbClr val="E5E5E5"/>
    <a:srgbClr val="BDBD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4660"/>
  </p:normalViewPr>
  <p:slideViewPr>
    <p:cSldViewPr snapToGrid="0">
      <p:cViewPr varScale="1">
        <p:scale>
          <a:sx n="148" d="100"/>
          <a:sy n="148" d="100"/>
        </p:scale>
        <p:origin x="1278" y="114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6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8B9C7845-0F86-4641-AE94-D1019EBA133D}"/>
    <pc:docChg chg="custSel modSld">
      <pc:chgData name="Meyer Raphael (PAR-ES)" userId="79615dfe-ed48-4e74-a40f-4f7b034c1c27" providerId="ADAL" clId="{8B9C7845-0F86-4641-AE94-D1019EBA133D}" dt="2023-03-10T13:44:58.188" v="17" actId="27918"/>
      <pc:docMkLst>
        <pc:docMk/>
      </pc:docMkLst>
      <pc:sldChg chg="modSp mod">
        <pc:chgData name="Meyer Raphael (PAR-ES)" userId="79615dfe-ed48-4e74-a40f-4f7b034c1c27" providerId="ADAL" clId="{8B9C7845-0F86-4641-AE94-D1019EBA133D}" dt="2023-03-10T13:44:58.188" v="17" actId="27918"/>
        <pc:sldMkLst>
          <pc:docMk/>
          <pc:sldMk cId="3865012081" sldId="415"/>
        </pc:sldMkLst>
        <pc:spChg chg="mod">
          <ac:chgData name="Meyer Raphael (PAR-ES)" userId="79615dfe-ed48-4e74-a40f-4f7b034c1c27" providerId="ADAL" clId="{8B9C7845-0F86-4641-AE94-D1019EBA133D}" dt="2023-03-10T13:38:42.103" v="0"/>
          <ac:spMkLst>
            <pc:docMk/>
            <pc:sldMk cId="3865012081" sldId="415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8B9C7845-0F86-4641-AE94-D1019EBA133D}" dt="2023-03-10T13:39:06.582" v="1"/>
          <ac:spMkLst>
            <pc:docMk/>
            <pc:sldMk cId="3865012081" sldId="415"/>
            <ac:spMk id="11" creationId="{45495507-A500-4876-A7D7-039B7559AD0C}"/>
          </ac:spMkLst>
        </pc:spChg>
        <pc:spChg chg="mod">
          <ac:chgData name="Meyer Raphael (PAR-ES)" userId="79615dfe-ed48-4e74-a40f-4f7b034c1c27" providerId="ADAL" clId="{8B9C7845-0F86-4641-AE94-D1019EBA133D}" dt="2023-03-10T13:39:12.998" v="7" actId="20577"/>
          <ac:spMkLst>
            <pc:docMk/>
            <pc:sldMk cId="3865012081" sldId="415"/>
            <ac:spMk id="12" creationId="{1A4657D7-3337-475E-8E67-E8F468A949AF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A8E92499-D9ED-4086-A668-D0FD04E05018}"/>
    <pc:docChg chg="delSld">
      <pc:chgData name="Meyer Raphael (PAR-ES)" userId="79615dfe-ed48-4e74-a40f-4f7b034c1c27" providerId="ADAL" clId="{A8E92499-D9ED-4086-A668-D0FD04E05018}" dt="2022-03-09T16:36:41.793" v="0" actId="47"/>
      <pc:docMkLst>
        <pc:docMk/>
      </pc:docMkLst>
      <pc:sldChg chg="del">
        <pc:chgData name="Meyer Raphael (PAR-ES)" userId="79615dfe-ed48-4e74-a40f-4f7b034c1c27" providerId="ADAL" clId="{A8E92499-D9ED-4086-A668-D0FD04E05018}" dt="2022-03-09T16:36:41.793" v="0" actId="47"/>
        <pc:sldMkLst>
          <pc:docMk/>
          <pc:sldMk cId="2868978950" sldId="416"/>
        </pc:sldMkLst>
      </pc:sldChg>
      <pc:sldChg chg="del">
        <pc:chgData name="Meyer Raphael (PAR-ES)" userId="79615dfe-ed48-4e74-a40f-4f7b034c1c27" providerId="ADAL" clId="{A8E92499-D9ED-4086-A668-D0FD04E05018}" dt="2022-03-09T16:36:41.793" v="0" actId="47"/>
        <pc:sldMkLst>
          <pc:docMk/>
          <pc:sldMk cId="976233813" sldId="417"/>
        </pc:sldMkLst>
      </pc:sldChg>
      <pc:sldChg chg="del">
        <pc:chgData name="Meyer Raphael (PAR-ES)" userId="79615dfe-ed48-4e74-a40f-4f7b034c1c27" providerId="ADAL" clId="{A8E92499-D9ED-4086-A668-D0FD04E05018}" dt="2022-03-09T16:36:41.793" v="0" actId="47"/>
        <pc:sldMkLst>
          <pc:docMk/>
          <pc:sldMk cId="407174717" sldId="418"/>
        </pc:sldMkLst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78FD9AF3-DD98-49F5-BF8B-FC56F13A595F}"/>
    <pc:docChg chg="custSel addSld delSld modSld">
      <pc:chgData name="Meyer Raphael (PAR-ES)" userId="79615dfe-ed48-4e74-a40f-4f7b034c1c27" providerId="ADAL" clId="{78FD9AF3-DD98-49F5-BF8B-FC56F13A595F}" dt="2022-03-09T13:58:52.464" v="97" actId="27918"/>
      <pc:docMkLst>
        <pc:docMk/>
      </pc:docMkLst>
      <pc:sldChg chg="del">
        <pc:chgData name="Meyer Raphael (PAR-ES)" userId="79615dfe-ed48-4e74-a40f-4f7b034c1c27" providerId="ADAL" clId="{78FD9AF3-DD98-49F5-BF8B-FC56F13A595F}" dt="2022-03-09T13:45:01.459" v="0" actId="47"/>
        <pc:sldMkLst>
          <pc:docMk/>
          <pc:sldMk cId="2641487227" sldId="271"/>
        </pc:sldMkLst>
      </pc:sldChg>
      <pc:sldChg chg="mod">
        <pc:chgData name="Meyer Raphael (PAR-ES)" userId="79615dfe-ed48-4e74-a40f-4f7b034c1c27" providerId="ADAL" clId="{78FD9AF3-DD98-49F5-BF8B-FC56F13A595F}" dt="2022-03-09T13:50:26.671" v="22" actId="27918"/>
        <pc:sldMkLst>
          <pc:docMk/>
          <pc:sldMk cId="3064315074" sldId="413"/>
        </pc:sldMkLst>
      </pc:sldChg>
      <pc:sldChg chg="modSp add mod">
        <pc:chgData name="Meyer Raphael (PAR-ES)" userId="79615dfe-ed48-4e74-a40f-4f7b034c1c27" providerId="ADAL" clId="{78FD9AF3-DD98-49F5-BF8B-FC56F13A595F}" dt="2022-03-09T13:52:40.046" v="43"/>
        <pc:sldMkLst>
          <pc:docMk/>
          <pc:sldMk cId="1214120989" sldId="414"/>
        </pc:sldMkLst>
        <pc:spChg chg="mod">
          <ac:chgData name="Meyer Raphael (PAR-ES)" userId="79615dfe-ed48-4e74-a40f-4f7b034c1c27" providerId="ADAL" clId="{78FD9AF3-DD98-49F5-BF8B-FC56F13A595F}" dt="2022-03-09T13:51:13.864" v="30" actId="20577"/>
          <ac:spMkLst>
            <pc:docMk/>
            <pc:sldMk cId="1214120989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1:37.128" v="37" actId="20577"/>
          <ac:spMkLst>
            <pc:docMk/>
            <pc:sldMk cId="1214120989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2:40.046" v="43"/>
          <ac:spMkLst>
            <pc:docMk/>
            <pc:sldMk cId="1214120989" sldId="414"/>
            <ac:spMk id="12" creationId="{00D4BB6A-0DD0-4B80-9845-0467B947A6BE}"/>
          </ac:spMkLst>
        </pc:spChg>
      </pc:sldChg>
      <pc:sldChg chg="modSp add del mod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1298817908" sldId="414"/>
        </pc:sldMkLst>
        <pc:spChg chg="mod">
          <ac:chgData name="Meyer Raphael (PAR-ES)" userId="79615dfe-ed48-4e74-a40f-4f7b034c1c27" providerId="ADAL" clId="{78FD9AF3-DD98-49F5-BF8B-FC56F13A595F}" dt="2022-03-09T13:46:41.249" v="4"/>
          <ac:spMkLst>
            <pc:docMk/>
            <pc:sldMk cId="1298817908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47:10.506" v="12" actId="20577"/>
          <ac:spMkLst>
            <pc:docMk/>
            <pc:sldMk cId="1298817908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46:51.898" v="5"/>
          <ac:spMkLst>
            <pc:docMk/>
            <pc:sldMk cId="1298817908" sldId="414"/>
            <ac:spMk id="12" creationId="{00D4BB6A-0DD0-4B80-9845-0467B947A6BE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3764143661" sldId="415"/>
        </pc:sldMkLst>
      </pc:sldChg>
      <pc:sldChg chg="modSp add mod">
        <pc:chgData name="Meyer Raphael (PAR-ES)" userId="79615dfe-ed48-4e74-a40f-4f7b034c1c27" providerId="ADAL" clId="{78FD9AF3-DD98-49F5-BF8B-FC56F13A595F}" dt="2022-03-09T13:55:39.628" v="75" actId="27918"/>
        <pc:sldMkLst>
          <pc:docMk/>
          <pc:sldMk cId="3878003729" sldId="415"/>
        </pc:sldMkLst>
        <pc:spChg chg="mod">
          <ac:chgData name="Meyer Raphael (PAR-ES)" userId="79615dfe-ed48-4e74-a40f-4f7b034c1c27" providerId="ADAL" clId="{78FD9AF3-DD98-49F5-BF8B-FC56F13A595F}" dt="2022-03-09T13:53:38.095" v="48" actId="20577"/>
          <ac:spMkLst>
            <pc:docMk/>
            <pc:sldMk cId="3878003729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4:22.863" v="60" actId="20577"/>
          <ac:spMkLst>
            <pc:docMk/>
            <pc:sldMk cId="3878003729" sldId="415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3:49.614" v="49"/>
          <ac:spMkLst>
            <pc:docMk/>
            <pc:sldMk cId="3878003729" sldId="415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4:39.731" v="66" actId="20577"/>
          <ac:spMkLst>
            <pc:docMk/>
            <pc:sldMk cId="3878003729" sldId="415"/>
            <ac:spMk id="13" creationId="{CB2EBD8C-0882-42C3-B5F5-BA01B7BFF2C3}"/>
          </ac:spMkLst>
        </pc:spChg>
      </pc:sldChg>
      <pc:sldChg chg="modSp add mod">
        <pc:chgData name="Meyer Raphael (PAR-ES)" userId="79615dfe-ed48-4e74-a40f-4f7b034c1c27" providerId="ADAL" clId="{78FD9AF3-DD98-49F5-BF8B-FC56F13A595F}" dt="2022-03-09T13:58:52.464" v="97" actId="27918"/>
        <pc:sldMkLst>
          <pc:docMk/>
          <pc:sldMk cId="2150380132" sldId="416"/>
        </pc:sldMkLst>
        <pc:spChg chg="mod">
          <ac:chgData name="Meyer Raphael (PAR-ES)" userId="79615dfe-ed48-4e74-a40f-4f7b034c1c27" providerId="ADAL" clId="{78FD9AF3-DD98-49F5-BF8B-FC56F13A595F}" dt="2022-03-09T13:56:38.884" v="80" actId="20577"/>
          <ac:spMkLst>
            <pc:docMk/>
            <pc:sldMk cId="2150380132" sldId="41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7:02.897" v="86" actId="20577"/>
          <ac:spMkLst>
            <pc:docMk/>
            <pc:sldMk cId="2150380132" sldId="416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6:50.781" v="81"/>
          <ac:spMkLst>
            <pc:docMk/>
            <pc:sldMk cId="2150380132" sldId="416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7:39.484" v="92" actId="20577"/>
          <ac:spMkLst>
            <pc:docMk/>
            <pc:sldMk cId="2150380132" sldId="416"/>
            <ac:spMk id="13" creationId="{CB2EBD8C-0882-42C3-B5F5-BA01B7BFF2C3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2931763869" sldId="416"/>
        </pc:sldMkLst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B3134076-241D-49A8-BDE6-7DC2169DB06A}"/>
    <pc:docChg chg="modSld">
      <pc:chgData name="Meyer Raphael (PAR-ES)" userId="79615dfe-ed48-4e74-a40f-4f7b034c1c27" providerId="ADAL" clId="{B3134076-241D-49A8-BDE6-7DC2169DB06A}" dt="2021-11-30T12:10:05.292" v="4" actId="27918"/>
      <pc:docMkLst>
        <pc:docMk/>
      </pc:docMkLst>
      <pc:sldChg chg="mod">
        <pc:chgData name="Meyer Raphael (PAR-ES)" userId="79615dfe-ed48-4e74-a40f-4f7b034c1c27" providerId="ADAL" clId="{B3134076-241D-49A8-BDE6-7DC2169DB06A}" dt="2021-11-30T12:10:05.292" v="4" actId="27918"/>
        <pc:sldMkLst>
          <pc:docMk/>
          <pc:sldMk cId="2641487227" sldId="271"/>
        </pc:sldMkLst>
      </pc:sldChg>
    </pc:docChg>
  </pc:docChgLst>
  <pc:docChgLst>
    <pc:chgData name="Meyer Raphael (PAR-ES)" userId="79615dfe-ed48-4e74-a40f-4f7b034c1c27" providerId="ADAL" clId="{CC037D72-AD94-45AC-86A2-5E4959515F3C}"/>
    <pc:docChg chg="custSel modSld">
      <pc:chgData name="Meyer Raphael (PAR-ES)" userId="79615dfe-ed48-4e74-a40f-4f7b034c1c27" providerId="ADAL" clId="{CC037D72-AD94-45AC-86A2-5E4959515F3C}" dt="2021-11-16T15:17:44.639" v="188"/>
      <pc:docMkLst>
        <pc:docMk/>
      </pc:docMkLst>
      <pc:sldChg chg="addSp delSp modSp mod">
        <pc:chgData name="Meyer Raphael (PAR-ES)" userId="79615dfe-ed48-4e74-a40f-4f7b034c1c27" providerId="ADAL" clId="{CC037D72-AD94-45AC-86A2-5E4959515F3C}" dt="2021-11-16T15:17:44.639" v="188"/>
        <pc:sldMkLst>
          <pc:docMk/>
          <pc:sldMk cId="2641487227" sldId="271"/>
        </pc:sldMkLst>
        <pc:spChg chg="add del mod">
          <ac:chgData name="Meyer Raphael (PAR-ES)" userId="79615dfe-ed48-4e74-a40f-4f7b034c1c27" providerId="ADAL" clId="{CC037D72-AD94-45AC-86A2-5E4959515F3C}" dt="2021-11-16T15:02:17.381" v="128" actId="478"/>
          <ac:spMkLst>
            <pc:docMk/>
            <pc:sldMk cId="2641487227" sldId="271"/>
            <ac:spMk id="3" creationId="{75819DB9-B5A3-47E4-858A-DC0D2C5DA1C7}"/>
          </ac:spMkLst>
        </pc:spChg>
        <pc:spChg chg="mod">
          <ac:chgData name="Meyer Raphael (PAR-ES)" userId="79615dfe-ed48-4e74-a40f-4f7b034c1c27" providerId="ADAL" clId="{CC037D72-AD94-45AC-86A2-5E4959515F3C}" dt="2021-11-16T14:49:37.120" v="90" actId="20577"/>
          <ac:spMkLst>
            <pc:docMk/>
            <pc:sldMk cId="2641487227" sldId="271"/>
            <ac:spMk id="6" creationId="{0148E78D-7FBB-46BC-A7E3-0EFE6D9E4679}"/>
          </ac:spMkLst>
        </pc:spChg>
        <pc:spChg chg="add del mod">
          <ac:chgData name="Meyer Raphael (PAR-ES)" userId="79615dfe-ed48-4e74-a40f-4f7b034c1c27" providerId="ADAL" clId="{CC037D72-AD94-45AC-86A2-5E4959515F3C}" dt="2021-11-16T15:02:14.806" v="127" actId="478"/>
          <ac:spMkLst>
            <pc:docMk/>
            <pc:sldMk cId="2641487227" sldId="271"/>
            <ac:spMk id="8" creationId="{03CE64C9-F04E-48CE-8658-CF9D275647F6}"/>
          </ac:spMkLst>
        </pc:spChg>
        <pc:spChg chg="mod">
          <ac:chgData name="Meyer Raphael (PAR-ES)" userId="79615dfe-ed48-4e74-a40f-4f7b034c1c27" providerId="ADAL" clId="{CC037D72-AD94-45AC-86A2-5E4959515F3C}" dt="2021-11-16T14:53:39.256" v="100" actId="20577"/>
          <ac:spMkLst>
            <pc:docMk/>
            <pc:sldMk cId="2641487227" sldId="271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CC037D72-AD94-45AC-86A2-5E4959515F3C}" dt="2021-11-16T15:17:44.639" v="188"/>
          <ac:graphicFrameMkLst>
            <pc:docMk/>
            <pc:sldMk cId="2641487227" sldId="27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Weigel Stefan (PAR-EPS)" userId="fd3b2067-2981-4ad8-bf3a-d2e1004e4fa8" providerId="ADAL" clId="{24AD8BDF-62DE-4FFF-A172-0BC7F554DEC7}"/>
    <pc:docChg chg="modSld">
      <pc:chgData name="Weigel Stefan (PAR-EPS)" userId="fd3b2067-2981-4ad8-bf3a-d2e1004e4fa8" providerId="ADAL" clId="{24AD8BDF-62DE-4FFF-A172-0BC7F554DEC7}" dt="2024-04-26T07:32:31.948" v="17" actId="1035"/>
      <pc:docMkLst>
        <pc:docMk/>
      </pc:docMkLst>
      <pc:sldChg chg="modSp mod">
        <pc:chgData name="Weigel Stefan (PAR-EPS)" userId="fd3b2067-2981-4ad8-bf3a-d2e1004e4fa8" providerId="ADAL" clId="{24AD8BDF-62DE-4FFF-A172-0BC7F554DEC7}" dt="2024-04-26T07:32:31.948" v="17" actId="1035"/>
        <pc:sldMkLst>
          <pc:docMk/>
          <pc:sldMk cId="3865012081" sldId="415"/>
        </pc:sldMkLst>
        <pc:spChg chg="mod">
          <ac:chgData name="Weigel Stefan (PAR-EPS)" userId="fd3b2067-2981-4ad8-bf3a-d2e1004e4fa8" providerId="ADAL" clId="{24AD8BDF-62DE-4FFF-A172-0BC7F554DEC7}" dt="2024-04-26T07:32:05.399" v="15" actId="1076"/>
          <ac:spMkLst>
            <pc:docMk/>
            <pc:sldMk cId="3865012081" sldId="415"/>
            <ac:spMk id="11" creationId="{45495507-A500-4876-A7D7-039B7559AD0C}"/>
          </ac:spMkLst>
        </pc:spChg>
        <pc:spChg chg="mod">
          <ac:chgData name="Weigel Stefan (PAR-EPS)" userId="fd3b2067-2981-4ad8-bf3a-d2e1004e4fa8" providerId="ADAL" clId="{24AD8BDF-62DE-4FFF-A172-0BC7F554DEC7}" dt="2024-04-26T07:32:31.948" v="17" actId="1035"/>
          <ac:spMkLst>
            <pc:docMk/>
            <pc:sldMk cId="3865012081" sldId="415"/>
            <ac:spMk id="12" creationId="{1A4657D7-3337-475E-8E67-E8F468A949AF}"/>
          </ac:spMkLst>
        </pc:spChg>
        <pc:graphicFrameChg chg="mod">
          <ac:chgData name="Weigel Stefan (PAR-EPS)" userId="fd3b2067-2981-4ad8-bf3a-d2e1004e4fa8" providerId="ADAL" clId="{24AD8BDF-62DE-4FFF-A172-0BC7F554DEC7}" dt="2024-04-26T07:31:57.219" v="14"/>
          <ac:graphicFrameMkLst>
            <pc:docMk/>
            <pc:sldMk cId="3865012081" sldId="415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105DCFF-B028-4B19-B633-C7AB10EE03B9}"/>
    <pc:docChg chg="modSld">
      <pc:chgData name="Meyer Raphael (PAR-ES)" userId="79615dfe-ed48-4e74-a40f-4f7b034c1c27" providerId="ADAL" clId="{B105DCFF-B028-4B19-B633-C7AB10EE03B9}" dt="2023-02-24T14:02:08.610" v="3" actId="27918"/>
      <pc:docMkLst>
        <pc:docMk/>
      </pc:docMkLst>
      <pc:sldChg chg="mod">
        <pc:chgData name="Meyer Raphael (PAR-ES)" userId="79615dfe-ed48-4e74-a40f-4f7b034c1c27" providerId="ADAL" clId="{B105DCFF-B028-4B19-B633-C7AB10EE03B9}" dt="2023-02-24T14:02:08.610" v="3" actId="27918"/>
        <pc:sldMkLst>
          <pc:docMk/>
          <pc:sldMk cId="3865012081" sldId="415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9A00C47-D07F-4C0B-9E51-38C98F48B301}"/>
    <pc:docChg chg="undo custSel addSld delSld modSld">
      <pc:chgData name="Meyer Raphael (PAR-ES)" userId="79615dfe-ed48-4e74-a40f-4f7b034c1c27" providerId="ADAL" clId="{49A00C47-D07F-4C0B-9E51-38C98F48B301}" dt="2023-02-27T10:12:58.700" v="143" actId="27918"/>
      <pc:docMkLst>
        <pc:docMk/>
      </pc:docMkLst>
      <pc:sldChg chg="addSp delSp modSp mod">
        <pc:chgData name="Meyer Raphael (PAR-ES)" userId="79615dfe-ed48-4e74-a40f-4f7b034c1c27" providerId="ADAL" clId="{49A00C47-D07F-4C0B-9E51-38C98F48B301}" dt="2023-02-27T10:12:58.700" v="143" actId="27918"/>
        <pc:sldMkLst>
          <pc:docMk/>
          <pc:sldMk cId="3865012081" sldId="415"/>
        </pc:sldMkLst>
        <pc:spChg chg="add del mod">
          <ac:chgData name="Meyer Raphael (PAR-ES)" userId="79615dfe-ed48-4e74-a40f-4f7b034c1c27" providerId="ADAL" clId="{49A00C47-D07F-4C0B-9E51-38C98F48B301}" dt="2023-02-24T14:10:39.745" v="39" actId="478"/>
          <ac:spMkLst>
            <pc:docMk/>
            <pc:sldMk cId="3865012081" sldId="415"/>
            <ac:spMk id="2" creationId="{C65F094E-485C-93D4-FD21-4EC5371D4536}"/>
          </ac:spMkLst>
        </pc:spChg>
        <pc:spChg chg="mod">
          <ac:chgData name="Meyer Raphael (PAR-ES)" userId="79615dfe-ed48-4e74-a40f-4f7b034c1c27" providerId="ADAL" clId="{49A00C47-D07F-4C0B-9E51-38C98F48B301}" dt="2023-02-24T14:09:51.903" v="36" actId="6549"/>
          <ac:spMkLst>
            <pc:docMk/>
            <pc:sldMk cId="3865012081" sldId="415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49A00C47-D07F-4C0B-9E51-38C98F48B301}" dt="2023-02-27T10:09:58.270" v="132" actId="20577"/>
          <ac:spMkLst>
            <pc:docMk/>
            <pc:sldMk cId="3865012081" sldId="415"/>
            <ac:spMk id="11" creationId="{45495507-A500-4876-A7D7-039B7559AD0C}"/>
          </ac:spMkLst>
        </pc:spChg>
        <pc:graphicFrameChg chg="mod">
          <ac:chgData name="Meyer Raphael (PAR-ES)" userId="79615dfe-ed48-4e74-a40f-4f7b034c1c27" providerId="ADAL" clId="{49A00C47-D07F-4C0B-9E51-38C98F48B301}" dt="2023-02-27T10:08:40.816" v="126"/>
          <ac:graphicFrameMkLst>
            <pc:docMk/>
            <pc:sldMk cId="3865012081" sldId="415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49A00C47-D07F-4C0B-9E51-38C98F48B301}" dt="2023-02-24T15:12:36.526" v="117" actId="47"/>
        <pc:sldMkLst>
          <pc:docMk/>
          <pc:sldMk cId="129412210" sldId="416"/>
        </pc:sldMkLst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3F817C4B-F866-4FC9-921E-DA547AE7CCD2}"/>
    <pc:docChg chg="modSld">
      <pc:chgData name="Meyer Raphael (PAR-ES)" userId="79615dfe-ed48-4e74-a40f-4f7b034c1c27" providerId="ADAL" clId="{3F817C4B-F866-4FC9-921E-DA547AE7CCD2}" dt="2021-11-04T13:41:11.916" v="44" actId="1038"/>
      <pc:docMkLst>
        <pc:docMk/>
      </pc:docMkLst>
      <pc:sldChg chg="modSp mod">
        <pc:chgData name="Meyer Raphael (PAR-ES)" userId="79615dfe-ed48-4e74-a40f-4f7b034c1c27" providerId="ADAL" clId="{3F817C4B-F866-4FC9-921E-DA547AE7CCD2}" dt="2021-11-04T13:40:48.028" v="10" actId="1038"/>
        <pc:sldMkLst>
          <pc:docMk/>
          <pc:sldMk cId="3808035539" sldId="270"/>
        </pc:sldMkLst>
        <pc:spChg chg="mod">
          <ac:chgData name="Meyer Raphael (PAR-ES)" userId="79615dfe-ed48-4e74-a40f-4f7b034c1c27" providerId="ADAL" clId="{3F817C4B-F866-4FC9-921E-DA547AE7CCD2}" dt="2021-11-04T13:40:48.028" v="10" actId="1038"/>
          <ac:spMkLst>
            <pc:docMk/>
            <pc:sldMk cId="3808035539" sldId="270"/>
            <ac:spMk id="10" creationId="{41B9B9AB-4B12-4760-AF37-4FABDDFAE68B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0:56.482" v="21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3F817C4B-F866-4FC9-921E-DA547AE7CCD2}" dt="2021-11-04T13:40:56.482" v="21" actId="1038"/>
          <ac:spMkLst>
            <pc:docMk/>
            <pc:sldMk cId="3677740869" sldId="271"/>
            <ac:spMk id="6" creationId="{43DF758D-1D72-4940-A1AE-B914B7A641D5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04.249" v="33" actId="1038"/>
        <pc:sldMkLst>
          <pc:docMk/>
          <pc:sldMk cId="1963209825" sldId="272"/>
        </pc:sldMkLst>
        <pc:spChg chg="mod">
          <ac:chgData name="Meyer Raphael (PAR-ES)" userId="79615dfe-ed48-4e74-a40f-4f7b034c1c27" providerId="ADAL" clId="{3F817C4B-F866-4FC9-921E-DA547AE7CCD2}" dt="2021-11-04T13:41:04.249" v="33" actId="1038"/>
          <ac:spMkLst>
            <pc:docMk/>
            <pc:sldMk cId="1963209825" sldId="272"/>
            <ac:spMk id="6" creationId="{CF6DBC6D-330A-4C20-9AEB-024C54AD5363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11.916" v="44" actId="1038"/>
        <pc:sldMkLst>
          <pc:docMk/>
          <pc:sldMk cId="1065586608" sldId="273"/>
        </pc:sldMkLst>
        <pc:spChg chg="mod">
          <ac:chgData name="Meyer Raphael (PAR-ES)" userId="79615dfe-ed48-4e74-a40f-4f7b034c1c27" providerId="ADAL" clId="{3F817C4B-F866-4FC9-921E-DA547AE7CCD2}" dt="2021-11-04T13:41:11.916" v="44" actId="1038"/>
          <ac:spMkLst>
            <pc:docMk/>
            <pc:sldMk cId="1065586608" sldId="273"/>
            <ac:spMk id="6" creationId="{E0F162F0-F370-43B9-9CC4-2142C851FD99}"/>
          </ac:spMkLst>
        </pc:spChg>
      </pc:sldChg>
    </pc:docChg>
  </pc:docChgLst>
  <pc:docChgLst>
    <pc:chgData name="Weigel Stefan (PAR-EPS)" userId="fd3b2067-2981-4ad8-bf3a-d2e1004e4fa8" providerId="ADAL" clId="{78C2D84D-A09F-4706-9234-7FE5CED263BF}"/>
    <pc:docChg chg="modSld">
      <pc:chgData name="Weigel Stefan (PAR-EPS)" userId="fd3b2067-2981-4ad8-bf3a-d2e1004e4fa8" providerId="ADAL" clId="{78C2D84D-A09F-4706-9234-7FE5CED263BF}" dt="2025-02-24T11:03:25.463" v="26" actId="20577"/>
      <pc:docMkLst>
        <pc:docMk/>
      </pc:docMkLst>
      <pc:sldChg chg="modSp mod">
        <pc:chgData name="Weigel Stefan (PAR-EPS)" userId="fd3b2067-2981-4ad8-bf3a-d2e1004e4fa8" providerId="ADAL" clId="{78C2D84D-A09F-4706-9234-7FE5CED263BF}" dt="2025-02-24T11:03:25.463" v="26" actId="20577"/>
        <pc:sldMkLst>
          <pc:docMk/>
          <pc:sldMk cId="3865012081" sldId="415"/>
        </pc:sldMkLst>
        <pc:spChg chg="mod">
          <ac:chgData name="Weigel Stefan (PAR-EPS)" userId="fd3b2067-2981-4ad8-bf3a-d2e1004e4fa8" providerId="ADAL" clId="{78C2D84D-A09F-4706-9234-7FE5CED263BF}" dt="2025-02-24T11:03:25.463" v="26" actId="20577"/>
          <ac:spMkLst>
            <pc:docMk/>
            <pc:sldMk cId="3865012081" sldId="415"/>
            <ac:spMk id="11" creationId="{45495507-A500-4876-A7D7-039B7559AD0C}"/>
          </ac:spMkLst>
        </pc:spChg>
        <pc:graphicFrameChg chg="mod">
          <ac:chgData name="Weigel Stefan (PAR-EPS)" userId="fd3b2067-2981-4ad8-bf3a-d2e1004e4fa8" providerId="ADAL" clId="{78C2D84D-A09F-4706-9234-7FE5CED263BF}" dt="2025-02-14T18:24:42.692" v="8"/>
          <ac:graphicFrameMkLst>
            <pc:docMk/>
            <pc:sldMk cId="3865012081" sldId="415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6C4A0EA-2388-4B74-96B0-FDC2F7AF02B2}"/>
    <pc:docChg chg="custSel addSld delSld modSld sldOrd">
      <pc:chgData name="Meyer Raphael (PAR-ES)" userId="79615dfe-ed48-4e74-a40f-4f7b034c1c27" providerId="ADAL" clId="{66C4A0EA-2388-4B74-96B0-FDC2F7AF02B2}" dt="2022-03-09T16:23:27.109" v="55" actId="27918"/>
      <pc:docMkLst>
        <pc:docMk/>
      </pc:docMkLst>
      <pc:sldChg chg="del">
        <pc:chgData name="Meyer Raphael (PAR-ES)" userId="79615dfe-ed48-4e74-a40f-4f7b034c1c27" providerId="ADAL" clId="{66C4A0EA-2388-4B74-96B0-FDC2F7AF02B2}" dt="2022-03-09T16:15:51.523" v="0" actId="47"/>
        <pc:sldMkLst>
          <pc:docMk/>
          <pc:sldMk cId="1774855510" sldId="414"/>
        </pc:sldMkLst>
      </pc:sldChg>
      <pc:sldChg chg="mod">
        <pc:chgData name="Meyer Raphael (PAR-ES)" userId="79615dfe-ed48-4e74-a40f-4f7b034c1c27" providerId="ADAL" clId="{66C4A0EA-2388-4B74-96B0-FDC2F7AF02B2}" dt="2022-03-09T16:18:35.148" v="24" actId="27918"/>
        <pc:sldMkLst>
          <pc:docMk/>
          <pc:sldMk cId="3865012081" sldId="415"/>
        </pc:sldMkLst>
      </pc:sldChg>
      <pc:sldChg chg="modSp add mod ord">
        <pc:chgData name="Meyer Raphael (PAR-ES)" userId="79615dfe-ed48-4e74-a40f-4f7b034c1c27" providerId="ADAL" clId="{66C4A0EA-2388-4B74-96B0-FDC2F7AF02B2}" dt="2022-03-09T16:18:54.115" v="29"/>
        <pc:sldMkLst>
          <pc:docMk/>
          <pc:sldMk cId="2868978950" sldId="416"/>
        </pc:sldMkLst>
        <pc:spChg chg="mod">
          <ac:chgData name="Meyer Raphael (PAR-ES)" userId="79615dfe-ed48-4e74-a40f-4f7b034c1c27" providerId="ADAL" clId="{66C4A0EA-2388-4B74-96B0-FDC2F7AF02B2}" dt="2022-03-09T16:16:26.111" v="4"/>
          <ac:spMkLst>
            <pc:docMk/>
            <pc:sldMk cId="2868978950" sldId="416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66C4A0EA-2388-4B74-96B0-FDC2F7AF02B2}" dt="2022-03-09T16:16:51.514" v="5"/>
          <ac:spMkLst>
            <pc:docMk/>
            <pc:sldMk cId="2868978950" sldId="416"/>
            <ac:spMk id="11" creationId="{45495507-A500-4876-A7D7-039B7559AD0C}"/>
          </ac:spMkLst>
        </pc:spChg>
      </pc:sldChg>
      <pc:sldChg chg="modSp add mod">
        <pc:chgData name="Meyer Raphael (PAR-ES)" userId="79615dfe-ed48-4e74-a40f-4f7b034c1c27" providerId="ADAL" clId="{66C4A0EA-2388-4B74-96B0-FDC2F7AF02B2}" dt="2022-03-09T16:21:27.322" v="42" actId="27918"/>
        <pc:sldMkLst>
          <pc:docMk/>
          <pc:sldMk cId="976233813" sldId="417"/>
        </pc:sldMkLst>
        <pc:spChg chg="mod">
          <ac:chgData name="Meyer Raphael (PAR-ES)" userId="79615dfe-ed48-4e74-a40f-4f7b034c1c27" providerId="ADAL" clId="{66C4A0EA-2388-4B74-96B0-FDC2F7AF02B2}" dt="2022-03-09T16:19:41.464" v="30"/>
          <ac:spMkLst>
            <pc:docMk/>
            <pc:sldMk cId="976233813" sldId="417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66C4A0EA-2388-4B74-96B0-FDC2F7AF02B2}" dt="2022-03-09T16:20:01.271" v="31"/>
          <ac:spMkLst>
            <pc:docMk/>
            <pc:sldMk cId="976233813" sldId="417"/>
            <ac:spMk id="11" creationId="{45495507-A500-4876-A7D7-039B7559AD0C}"/>
          </ac:spMkLst>
        </pc:spChg>
        <pc:spChg chg="mod">
          <ac:chgData name="Meyer Raphael (PAR-ES)" userId="79615dfe-ed48-4e74-a40f-4f7b034c1c27" providerId="ADAL" clId="{66C4A0EA-2388-4B74-96B0-FDC2F7AF02B2}" dt="2022-03-09T16:21:05.488" v="37" actId="20577"/>
          <ac:spMkLst>
            <pc:docMk/>
            <pc:sldMk cId="976233813" sldId="417"/>
            <ac:spMk id="12" creationId="{1A4657D7-3337-475E-8E67-E8F468A949AF}"/>
          </ac:spMkLst>
        </pc:spChg>
      </pc:sldChg>
      <pc:sldChg chg="add del">
        <pc:chgData name="Meyer Raphael (PAR-ES)" userId="79615dfe-ed48-4e74-a40f-4f7b034c1c27" providerId="ADAL" clId="{66C4A0EA-2388-4B74-96B0-FDC2F7AF02B2}" dt="2022-03-09T16:18:43.739" v="25" actId="47"/>
        <pc:sldMkLst>
          <pc:docMk/>
          <pc:sldMk cId="3015967454" sldId="417"/>
        </pc:sldMkLst>
      </pc:sldChg>
      <pc:sldChg chg="modSp add mod">
        <pc:chgData name="Meyer Raphael (PAR-ES)" userId="79615dfe-ed48-4e74-a40f-4f7b034c1c27" providerId="ADAL" clId="{66C4A0EA-2388-4B74-96B0-FDC2F7AF02B2}" dt="2022-03-09T16:23:27.109" v="55" actId="27918"/>
        <pc:sldMkLst>
          <pc:docMk/>
          <pc:sldMk cId="407174717" sldId="418"/>
        </pc:sldMkLst>
        <pc:spChg chg="mod">
          <ac:chgData name="Meyer Raphael (PAR-ES)" userId="79615dfe-ed48-4e74-a40f-4f7b034c1c27" providerId="ADAL" clId="{66C4A0EA-2388-4B74-96B0-FDC2F7AF02B2}" dt="2022-03-09T16:22:17.056" v="43"/>
          <ac:spMkLst>
            <pc:docMk/>
            <pc:sldMk cId="407174717" sldId="418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66C4A0EA-2388-4B74-96B0-FDC2F7AF02B2}" dt="2022-03-09T16:22:37.624" v="44"/>
          <ac:spMkLst>
            <pc:docMk/>
            <pc:sldMk cId="407174717" sldId="418"/>
            <ac:spMk id="11" creationId="{45495507-A500-4876-A7D7-039B7559AD0C}"/>
          </ac:spMkLst>
        </pc:spChg>
        <pc:spChg chg="mod">
          <ac:chgData name="Meyer Raphael (PAR-ES)" userId="79615dfe-ed48-4e74-a40f-4f7b034c1c27" providerId="ADAL" clId="{66C4A0EA-2388-4B74-96B0-FDC2F7AF02B2}" dt="2022-03-09T16:22:41.606" v="50" actId="20577"/>
          <ac:spMkLst>
            <pc:docMk/>
            <pc:sldMk cId="407174717" sldId="418"/>
            <ac:spMk id="12" creationId="{1A4657D7-3337-475E-8E67-E8F468A949AF}"/>
          </ac:spMkLst>
        </pc:spChg>
      </pc:sldChg>
      <pc:sldChg chg="add del">
        <pc:chgData name="Meyer Raphael (PAR-ES)" userId="79615dfe-ed48-4e74-a40f-4f7b034c1c27" providerId="ADAL" clId="{66C4A0EA-2388-4B74-96B0-FDC2F7AF02B2}" dt="2022-03-09T16:18:43.739" v="25" actId="47"/>
        <pc:sldMkLst>
          <pc:docMk/>
          <pc:sldMk cId="2492649957" sldId="418"/>
        </pc:sldMkLst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AD707207-28DB-44DB-BFE3-BB16A1A03D6C}"/>
    <pc:docChg chg="addSld delSld modSld">
      <pc:chgData name="Meyer Raphael (PAR-ES)" userId="79615dfe-ed48-4e74-a40f-4f7b034c1c27" providerId="ADAL" clId="{AD707207-28DB-44DB-BFE3-BB16A1A03D6C}" dt="2021-11-08T12:03:59.863" v="4" actId="47"/>
      <pc:docMkLst>
        <pc:docMk/>
      </pc:docMkLst>
      <pc:sldChg chg="del">
        <pc:chgData name="Meyer Raphael (PAR-ES)" userId="79615dfe-ed48-4e74-a40f-4f7b034c1c27" providerId="ADAL" clId="{AD707207-28DB-44DB-BFE3-BB16A1A03D6C}" dt="2021-11-08T12:03:59.863" v="4" actId="47"/>
        <pc:sldMkLst>
          <pc:docMk/>
          <pc:sldMk cId="3808035539" sldId="270"/>
        </pc:sldMkLst>
      </pc:sldChg>
      <pc:sldChg chg="add">
        <pc:chgData name="Meyer Raphael (PAR-ES)" userId="79615dfe-ed48-4e74-a40f-4f7b034c1c27" providerId="ADAL" clId="{AD707207-28DB-44DB-BFE3-BB16A1A03D6C}" dt="2021-11-08T11:51:36.065" v="0" actId="2890"/>
        <pc:sldMkLst>
          <pc:docMk/>
          <pc:sldMk cId="2641487227" sldId="271"/>
        </pc:sldMkLst>
      </pc:sldChg>
      <pc:sldChg chg="addSp modSp new del">
        <pc:chgData name="Meyer Raphael (PAR-ES)" userId="79615dfe-ed48-4e74-a40f-4f7b034c1c27" providerId="ADAL" clId="{AD707207-28DB-44DB-BFE3-BB16A1A03D6C}" dt="2021-11-08T12:03:52.132" v="3" actId="47"/>
        <pc:sldMkLst>
          <pc:docMk/>
          <pc:sldMk cId="934294936" sldId="272"/>
        </pc:sldMkLst>
        <pc:graphicFrameChg chg="add mod">
          <ac:chgData name="Meyer Raphael (PAR-ES)" userId="79615dfe-ed48-4e74-a40f-4f7b034c1c27" providerId="ADAL" clId="{AD707207-28DB-44DB-BFE3-BB16A1A03D6C}" dt="2021-11-08T12:03:44.764" v="2"/>
          <ac:graphicFrameMkLst>
            <pc:docMk/>
            <pc:sldMk cId="934294936" sldId="272"/>
            <ac:graphicFrameMk id="6" creationId="{C4C775E3-3FF9-42C2-9363-3ECDA4A2A7C5}"/>
          </ac:graphicFrameMkLst>
        </pc:graphicFrame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PAR-ES)" userId="79615dfe-ed48-4e74-a40f-4f7b034c1c27" providerId="ADAL" clId="{075BCFC8-B02B-4DC4-A4AE-CC9F64D1F990}"/>
    <pc:docChg chg="custSel addSld delSld modSld">
      <pc:chgData name="Meyer Raphael (PAR-ES)" userId="79615dfe-ed48-4e74-a40f-4f7b034c1c27" providerId="ADAL" clId="{075BCFC8-B02B-4DC4-A4AE-CC9F64D1F990}" dt="2022-03-09T15:42:32.028" v="46" actId="27918"/>
      <pc:docMkLst>
        <pc:docMk/>
      </pc:docMkLst>
      <pc:sldChg chg="del">
        <pc:chgData name="Meyer Raphael (PAR-ES)" userId="79615dfe-ed48-4e74-a40f-4f7b034c1c27" providerId="ADAL" clId="{075BCFC8-B02B-4DC4-A4AE-CC9F64D1F990}" dt="2022-03-09T15:36:05.484" v="0" actId="47"/>
        <pc:sldMkLst>
          <pc:docMk/>
          <pc:sldMk cId="3064315074" sldId="413"/>
        </pc:sldMkLst>
      </pc:sldChg>
      <pc:sldChg chg="modSp">
        <pc:chgData name="Meyer Raphael (PAR-ES)" userId="79615dfe-ed48-4e74-a40f-4f7b034c1c27" providerId="ADAL" clId="{075BCFC8-B02B-4DC4-A4AE-CC9F64D1F990}" dt="2022-03-09T15:40:36.470" v="29"/>
        <pc:sldMkLst>
          <pc:docMk/>
          <pc:sldMk cId="1774855510" sldId="414"/>
        </pc:sldMkLst>
        <pc:graphicFrameChg chg="mod">
          <ac:chgData name="Meyer Raphael (PAR-ES)" userId="79615dfe-ed48-4e74-a40f-4f7b034c1c27" providerId="ADAL" clId="{075BCFC8-B02B-4DC4-A4AE-CC9F64D1F990}" dt="2022-03-09T15:40:36.470" v="29"/>
          <ac:graphicFrameMkLst>
            <pc:docMk/>
            <pc:sldMk cId="1774855510" sldId="414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0:23.320" v="28"/>
        <pc:sldMkLst>
          <pc:docMk/>
          <pc:sldMk cId="2844382326" sldId="415"/>
        </pc:sldMkLst>
        <pc:spChg chg="mod">
          <ac:chgData name="Meyer Raphael (PAR-ES)" userId="79615dfe-ed48-4e74-a40f-4f7b034c1c27" providerId="ADAL" clId="{075BCFC8-B02B-4DC4-A4AE-CC9F64D1F990}" dt="2022-03-09T15:37:11.935" v="4"/>
          <ac:spMkLst>
            <pc:docMk/>
            <pc:sldMk cId="2844382326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37:23.197" v="6" actId="20577"/>
          <ac:spMkLst>
            <pc:docMk/>
            <pc:sldMk cId="2844382326" sldId="415"/>
            <ac:spMk id="6" creationId="{1F31F2D2-504B-4B14-95D4-0B8BCA2C6299}"/>
          </ac:spMkLst>
        </pc:spChg>
        <pc:graphicFrameChg chg="mod">
          <ac:chgData name="Meyer Raphael (PAR-ES)" userId="79615dfe-ed48-4e74-a40f-4f7b034c1c27" providerId="ADAL" clId="{075BCFC8-B02B-4DC4-A4AE-CC9F64D1F990}" dt="2022-03-09T15:40:23.320" v="28"/>
          <ac:graphicFrameMkLst>
            <pc:docMk/>
            <pc:sldMk cId="2844382326" sldId="415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0:13.240" v="26"/>
        <pc:sldMkLst>
          <pc:docMk/>
          <pc:sldMk cId="2251798312" sldId="416"/>
        </pc:sldMkLst>
        <pc:spChg chg="mod">
          <ac:chgData name="Meyer Raphael (PAR-ES)" userId="79615dfe-ed48-4e74-a40f-4f7b034c1c27" providerId="ADAL" clId="{075BCFC8-B02B-4DC4-A4AE-CC9F64D1F990}" dt="2022-03-09T15:39:03.475" v="12"/>
          <ac:spMkLst>
            <pc:docMk/>
            <pc:sldMk cId="2251798312" sldId="41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39:15.755" v="14" actId="20577"/>
          <ac:spMkLst>
            <pc:docMk/>
            <pc:sldMk cId="2251798312" sldId="416"/>
            <ac:spMk id="6" creationId="{1F31F2D2-504B-4B14-95D4-0B8BCA2C6299}"/>
          </ac:spMkLst>
        </pc:spChg>
        <pc:spChg chg="mod">
          <ac:chgData name="Meyer Raphael (PAR-ES)" userId="79615dfe-ed48-4e74-a40f-4f7b034c1c27" providerId="ADAL" clId="{075BCFC8-B02B-4DC4-A4AE-CC9F64D1F990}" dt="2022-03-09T15:39:29.391" v="20" actId="20577"/>
          <ac:spMkLst>
            <pc:docMk/>
            <pc:sldMk cId="2251798312" sldId="416"/>
            <ac:spMk id="7" creationId="{997E4419-A7A8-4264-97B0-3A44B665821E}"/>
          </ac:spMkLst>
        </pc:spChg>
        <pc:graphicFrameChg chg="mod">
          <ac:chgData name="Meyer Raphael (PAR-ES)" userId="79615dfe-ed48-4e74-a40f-4f7b034c1c27" providerId="ADAL" clId="{075BCFC8-B02B-4DC4-A4AE-CC9F64D1F990}" dt="2022-03-09T15:40:13.240" v="26"/>
          <ac:graphicFrameMkLst>
            <pc:docMk/>
            <pc:sldMk cId="2251798312" sldId="416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2:32.028" v="46" actId="27918"/>
        <pc:sldMkLst>
          <pc:docMk/>
          <pc:sldMk cId="1913231849" sldId="417"/>
        </pc:sldMkLst>
        <pc:spChg chg="mod">
          <ac:chgData name="Meyer Raphael (PAR-ES)" userId="79615dfe-ed48-4e74-a40f-4f7b034c1c27" providerId="ADAL" clId="{075BCFC8-B02B-4DC4-A4AE-CC9F64D1F990}" dt="2022-03-09T15:41:32.284" v="31"/>
          <ac:spMkLst>
            <pc:docMk/>
            <pc:sldMk cId="1913231849" sldId="41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41:53.137" v="33" actId="20577"/>
          <ac:spMkLst>
            <pc:docMk/>
            <pc:sldMk cId="1913231849" sldId="417"/>
            <ac:spMk id="6" creationId="{1F31F2D2-504B-4B14-95D4-0B8BCA2C6299}"/>
          </ac:spMkLst>
        </pc:spChg>
        <pc:spChg chg="mod">
          <ac:chgData name="Meyer Raphael (PAR-ES)" userId="79615dfe-ed48-4e74-a40f-4f7b034c1c27" providerId="ADAL" clId="{075BCFC8-B02B-4DC4-A4AE-CC9F64D1F990}" dt="2022-03-09T15:41:58.782" v="41" actId="20577"/>
          <ac:spMkLst>
            <pc:docMk/>
            <pc:sldMk cId="1913231849" sldId="417"/>
            <ac:spMk id="7" creationId="{997E4419-A7A8-4264-97B0-3A44B665821E}"/>
          </ac:spMkLst>
        </pc:spChg>
        <pc:graphicFrameChg chg="mod">
          <ac:chgData name="Meyer Raphael (PAR-ES)" userId="79615dfe-ed48-4e74-a40f-4f7b034c1c27" providerId="ADAL" clId="{075BCFC8-B02B-4DC4-A4AE-CC9F64D1F990}" dt="2022-03-09T15:40:46.551" v="30"/>
          <ac:graphicFrameMkLst>
            <pc:docMk/>
            <pc:sldMk cId="1913231849" sldId="417"/>
            <ac:graphicFrameMk id="9" creationId="{00000000-0000-0000-0000-000000000000}"/>
          </ac:graphicFrameMkLst>
        </pc:graphicFrame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0F694D6-807D-4949-9503-515E89DD48AB}"/>
    <pc:docChg chg="delSld">
      <pc:chgData name="Meyer Raphael (PAR-ES)" userId="79615dfe-ed48-4e74-a40f-4f7b034c1c27" providerId="ADAL" clId="{10F694D6-807D-4949-9503-515E89DD48AB}" dt="2022-03-09T15:20:13.407" v="0" actId="47"/>
      <pc:docMkLst>
        <pc:docMk/>
      </pc:docMkLst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1214120989" sldId="414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3878003729" sldId="415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2150380132" sldId="416"/>
        </pc:sldMkLst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70C434F-95E8-436B-A1F0-5B170DA19DE6}"/>
    <pc:docChg chg="undo custSel addSld modSld">
      <pc:chgData name="Meyer Raphael (PAR-ES)" userId="79615dfe-ed48-4e74-a40f-4f7b034c1c27" providerId="ADAL" clId="{470C434F-95E8-436B-A1F0-5B170DA19DE6}" dt="2021-11-08T09:49:12.579" v="193" actId="27918"/>
      <pc:docMkLst>
        <pc:docMk/>
      </pc:docMkLst>
      <pc:sldChg chg="modSp mod">
        <pc:chgData name="Meyer Raphael (PAR-ES)" userId="79615dfe-ed48-4e74-a40f-4f7b034c1c27" providerId="ADAL" clId="{470C434F-95E8-436B-A1F0-5B170DA19DE6}" dt="2021-11-08T09:39:09.766" v="188" actId="1036"/>
        <pc:sldMkLst>
          <pc:docMk/>
          <pc:sldMk cId="3808035539" sldId="270"/>
        </pc:sldMkLst>
        <pc:spChg chg="mod">
          <ac:chgData name="Meyer Raphael (PAR-ES)" userId="79615dfe-ed48-4e74-a40f-4f7b034c1c27" providerId="ADAL" clId="{470C434F-95E8-436B-A1F0-5B170DA19DE6}" dt="2021-11-08T09:35:57.599" v="45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70C434F-95E8-436B-A1F0-5B170DA19DE6}" dt="2021-11-08T09:37:06.055" v="129" actId="20577"/>
          <ac:spMkLst>
            <pc:docMk/>
            <pc:sldMk cId="3808035539" sldId="270"/>
            <ac:spMk id="6" creationId="{0148E78D-7FBB-46BC-A7E3-0EFE6D9E4679}"/>
          </ac:spMkLst>
        </pc:spChg>
        <pc:spChg chg="mod">
          <ac:chgData name="Meyer Raphael (PAR-ES)" userId="79615dfe-ed48-4e74-a40f-4f7b034c1c27" providerId="ADAL" clId="{470C434F-95E8-436B-A1F0-5B170DA19DE6}" dt="2021-11-08T09:39:09.766" v="188" actId="1036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470C434F-95E8-436B-A1F0-5B170DA19DE6}" dt="2021-11-08T09:35:17.046" v="23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add mod">
        <pc:chgData name="Meyer Raphael (PAR-ES)" userId="79615dfe-ed48-4e74-a40f-4f7b034c1c27" providerId="ADAL" clId="{470C434F-95E8-436B-A1F0-5B170DA19DE6}" dt="2021-11-08T09:49:12.579" v="193" actId="27918"/>
        <pc:sldMkLst>
          <pc:docMk/>
          <pc:sldMk cId="2540367841" sldId="274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74A59743-142D-4CF8-870C-5D2A831C7023}"/>
    <pc:docChg chg="modSld">
      <pc:chgData name="Meyer Raphael (PAR-ES)" userId="79615dfe-ed48-4e74-a40f-4f7b034c1c27" providerId="ADAL" clId="{74A59743-142D-4CF8-870C-5D2A831C7023}" dt="2022-03-09T16:40:35.701" v="36" actId="1037"/>
      <pc:docMkLst>
        <pc:docMk/>
      </pc:docMkLst>
      <pc:sldChg chg="modSp mod">
        <pc:chgData name="Meyer Raphael (PAR-ES)" userId="79615dfe-ed48-4e74-a40f-4f7b034c1c27" providerId="ADAL" clId="{74A59743-142D-4CF8-870C-5D2A831C7023}" dt="2022-03-09T16:40:35.701" v="36" actId="1037"/>
        <pc:sldMkLst>
          <pc:docMk/>
          <pc:sldMk cId="3865012081" sldId="415"/>
        </pc:sldMkLst>
        <pc:spChg chg="mod">
          <ac:chgData name="Meyer Raphael (PAR-ES)" userId="79615dfe-ed48-4e74-a40f-4f7b034c1c27" providerId="ADAL" clId="{74A59743-142D-4CF8-870C-5D2A831C7023}" dt="2022-03-09T16:40:35.701" v="36" actId="1037"/>
          <ac:spMkLst>
            <pc:docMk/>
            <pc:sldMk cId="3865012081" sldId="415"/>
            <ac:spMk id="11" creationId="{45495507-A500-4876-A7D7-039B7559AD0C}"/>
          </ac:spMkLst>
        </pc:sp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7ED1063F-D2A9-43CF-91B5-C9448CFA5831}"/>
    <pc:docChg chg="modSld">
      <pc:chgData name="Meyer Raphael (PAR-ES)" userId="79615dfe-ed48-4e74-a40f-4f7b034c1c27" providerId="ADAL" clId="{7ED1063F-D2A9-43CF-91B5-C9448CFA5831}" dt="2021-11-23T10:02:31.376" v="3" actId="20577"/>
      <pc:docMkLst>
        <pc:docMk/>
      </pc:docMkLst>
      <pc:sldChg chg="modSp mod">
        <pc:chgData name="Meyer Raphael (PAR-ES)" userId="79615dfe-ed48-4e74-a40f-4f7b034c1c27" providerId="ADAL" clId="{7ED1063F-D2A9-43CF-91B5-C9448CFA5831}" dt="2021-11-23T10:02:31.376" v="3" actId="20577"/>
        <pc:sldMkLst>
          <pc:docMk/>
          <pc:sldMk cId="2641487227" sldId="271"/>
        </pc:sldMkLst>
        <pc:spChg chg="mod">
          <ac:chgData name="Meyer Raphael (PAR-ES)" userId="79615dfe-ed48-4e74-a40f-4f7b034c1c27" providerId="ADAL" clId="{7ED1063F-D2A9-43CF-91B5-C9448CFA5831}" dt="2021-11-23T10:02:31.376" v="3" actId="20577"/>
          <ac:spMkLst>
            <pc:docMk/>
            <pc:sldMk cId="2641487227" sldId="271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941D55D4-6F27-4B3F-BCFD-8B758077B1FA}"/>
    <pc:docChg chg="custSel modSld">
      <pc:chgData name="Weigel Stefan (PAR-EPS)" userId="fd3b2067-2981-4ad8-bf3a-d2e1004e4fa8" providerId="ADAL" clId="{941D55D4-6F27-4B3F-BCFD-8B758077B1FA}" dt="2024-02-02T11:41:44.018" v="26" actId="27918"/>
      <pc:docMkLst>
        <pc:docMk/>
      </pc:docMkLst>
      <pc:sldChg chg="modSp mod">
        <pc:chgData name="Weigel Stefan (PAR-EPS)" userId="fd3b2067-2981-4ad8-bf3a-d2e1004e4fa8" providerId="ADAL" clId="{941D55D4-6F27-4B3F-BCFD-8B758077B1FA}" dt="2024-02-02T11:41:44.018" v="26" actId="27918"/>
        <pc:sldMkLst>
          <pc:docMk/>
          <pc:sldMk cId="3865012081" sldId="415"/>
        </pc:sldMkLst>
        <pc:spChg chg="mod">
          <ac:chgData name="Weigel Stefan (PAR-EPS)" userId="fd3b2067-2981-4ad8-bf3a-d2e1004e4fa8" providerId="ADAL" clId="{941D55D4-6F27-4B3F-BCFD-8B758077B1FA}" dt="2024-02-02T11:39:09.358" v="4" actId="20577"/>
          <ac:spMkLst>
            <pc:docMk/>
            <pc:sldMk cId="3865012081" sldId="415"/>
            <ac:spMk id="12" creationId="{1A4657D7-3337-475E-8E67-E8F468A949AF}"/>
          </ac:spMkLst>
        </pc:spChg>
      </pc:sldChg>
    </pc:docChg>
  </pc:docChgLst>
  <pc:docChgLst>
    <pc:chgData name="Meyer Raphael (PAR-ES)" userId="79615dfe-ed48-4e74-a40f-4f7b034c1c27" providerId="ADAL" clId="{DE7C88A0-74DE-46DA-9412-192AAB9D7595}"/>
    <pc:docChg chg="undo custSel delSld modSld">
      <pc:chgData name="Meyer Raphael (PAR-ES)" userId="79615dfe-ed48-4e74-a40f-4f7b034c1c27" providerId="ADAL" clId="{DE7C88A0-74DE-46DA-9412-192AAB9D7595}" dt="2021-11-08T11:21:13.895" v="201" actId="1035"/>
      <pc:docMkLst>
        <pc:docMk/>
      </pc:docMkLst>
      <pc:sldChg chg="modSp mod">
        <pc:chgData name="Meyer Raphael (PAR-ES)" userId="79615dfe-ed48-4e74-a40f-4f7b034c1c27" providerId="ADAL" clId="{DE7C88A0-74DE-46DA-9412-192AAB9D7595}" dt="2021-11-08T11:05:51.260" v="10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DE7C88A0-74DE-46DA-9412-192AAB9D7595}" dt="2021-11-08T11:05:31.894" v="8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5:51.260" v="10" actId="6549"/>
          <ac:spMkLst>
            <pc:docMk/>
            <pc:sldMk cId="3808035539" sldId="270"/>
            <ac:spMk id="6" creationId="{0148E78D-7FBB-46BC-A7E3-0EFE6D9E4679}"/>
          </ac:spMkLst>
        </pc:spChg>
      </pc:sldChg>
      <pc:sldChg chg="modSp mod">
        <pc:chgData name="Meyer Raphael (PAR-ES)" userId="79615dfe-ed48-4e74-a40f-4f7b034c1c27" providerId="ADAL" clId="{DE7C88A0-74DE-46DA-9412-192AAB9D7595}" dt="2021-11-08T11:10:34.123" v="44" actId="404"/>
        <pc:sldMkLst>
          <pc:docMk/>
          <pc:sldMk cId="3677740869" sldId="271"/>
        </pc:sldMkLst>
        <pc:spChg chg="mod">
          <ac:chgData name="Meyer Raphael (PAR-ES)" userId="79615dfe-ed48-4e74-a40f-4f7b034c1c27" providerId="ADAL" clId="{DE7C88A0-74DE-46DA-9412-192AAB9D7595}" dt="2021-11-08T11:05:40.478" v="9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7:35.668" v="42" actId="20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6:39.910" v="41" actId="1036"/>
          <ac:spMkLst>
            <pc:docMk/>
            <pc:sldMk cId="3677740869" sldId="271"/>
            <ac:spMk id="6" creationId="{43DF758D-1D72-4940-A1AE-B914B7A641D5}"/>
          </ac:spMkLst>
        </pc:spChg>
        <pc:spChg chg="mod">
          <ac:chgData name="Meyer Raphael (PAR-ES)" userId="79615dfe-ed48-4e74-a40f-4f7b034c1c27" providerId="ADAL" clId="{DE7C88A0-74DE-46DA-9412-192AAB9D7595}" dt="2021-11-08T11:03:43.200" v="5" actId="6549"/>
          <ac:spMkLst>
            <pc:docMk/>
            <pc:sldMk cId="3677740869" sldId="271"/>
            <ac:spMk id="7" creationId="{F89A807E-3A97-42E9-81E0-CE2025105F4C}"/>
          </ac:spMkLst>
        </pc:spChg>
        <pc:graphicFrameChg chg="mod">
          <ac:chgData name="Meyer Raphael (PAR-ES)" userId="79615dfe-ed48-4e74-a40f-4f7b034c1c27" providerId="ADAL" clId="{DE7C88A0-74DE-46DA-9412-192AAB9D7595}" dt="2021-11-08T11:10:34.123" v="44" actId="404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17:15.274" v="119" actId="207"/>
        <pc:sldMkLst>
          <pc:docMk/>
          <pc:sldMk cId="1963209825" sldId="272"/>
        </pc:sldMkLst>
        <pc:spChg chg="mod">
          <ac:chgData name="Meyer Raphael (PAR-ES)" userId="79615dfe-ed48-4e74-a40f-4f7b034c1c27" providerId="ADAL" clId="{DE7C88A0-74DE-46DA-9412-192AAB9D7595}" dt="2021-11-08T11:15:24.270" v="92" actId="20577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15.274" v="119" actId="207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6:04.828" v="116" actId="1036"/>
          <ac:spMkLst>
            <pc:docMk/>
            <pc:sldMk cId="1963209825" sldId="272"/>
            <ac:spMk id="6" creationId="{CF6DBC6D-330A-4C20-9AEB-024C54AD5363}"/>
          </ac:spMkLst>
        </pc:spChg>
        <pc:spChg chg="mod">
          <ac:chgData name="Meyer Raphael (PAR-ES)" userId="79615dfe-ed48-4e74-a40f-4f7b034c1c27" providerId="ADAL" clId="{DE7C88A0-74DE-46DA-9412-192AAB9D7595}" dt="2021-11-08T11:15:31.902" v="93" actId="20577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DE7C88A0-74DE-46DA-9412-192AAB9D7595}" dt="2021-11-08T11:16:24.678" v="118" actId="404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21:13.895" v="201" actId="1035"/>
        <pc:sldMkLst>
          <pc:docMk/>
          <pc:sldMk cId="1065586608" sldId="273"/>
        </pc:sldMkLst>
        <pc:spChg chg="mod">
          <ac:chgData name="Meyer Raphael (PAR-ES)" userId="79615dfe-ed48-4e74-a40f-4f7b034c1c27" providerId="ADAL" clId="{DE7C88A0-74DE-46DA-9412-192AAB9D7595}" dt="2021-11-08T11:20:11.550" v="169" actId="20577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28.932" v="120" actId="207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21:13.895" v="201" actId="1035"/>
          <ac:spMkLst>
            <pc:docMk/>
            <pc:sldMk cId="1065586608" sldId="273"/>
            <ac:spMk id="6" creationId="{E0F162F0-F370-43B9-9CC4-2142C851FD99}"/>
          </ac:spMkLst>
        </pc:spChg>
        <pc:spChg chg="mod">
          <ac:chgData name="Meyer Raphael (PAR-ES)" userId="79615dfe-ed48-4e74-a40f-4f7b034c1c27" providerId="ADAL" clId="{DE7C88A0-74DE-46DA-9412-192AAB9D7595}" dt="2021-11-08T11:20:21.088" v="170" actId="6549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DE7C88A0-74DE-46DA-9412-192AAB9D7595}" dt="2021-11-08T11:20:57.540" v="174" actId="404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del">
        <pc:chgData name="Meyer Raphael (PAR-ES)" userId="79615dfe-ed48-4e74-a40f-4f7b034c1c27" providerId="ADAL" clId="{DE7C88A0-74DE-46DA-9412-192AAB9D7595}" dt="2021-11-08T10:59:24.534" v="0" actId="2696"/>
        <pc:sldMkLst>
          <pc:docMk/>
          <pc:sldMk cId="2540367841" sldId="274"/>
        </pc:sldMkLst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38AF8AF8-3015-4A40-885D-1810E82E92DA}"/>
    <pc:docChg chg="delSld">
      <pc:chgData name="Meyer Raphael (PAR-ES)" userId="79615dfe-ed48-4e74-a40f-4f7b034c1c27" providerId="ADAL" clId="{38AF8AF8-3015-4A40-885D-1810E82E92DA}" dt="2022-03-09T15:47:26.635" v="0" actId="47"/>
      <pc:docMkLst>
        <pc:docMk/>
      </pc:docMkLst>
      <pc:sldChg chg="del">
        <pc:chgData name="Meyer Raphael (PAR-ES)" userId="79615dfe-ed48-4e74-a40f-4f7b034c1c27" providerId="ADAL" clId="{38AF8AF8-3015-4A40-885D-1810E82E92DA}" dt="2022-03-09T15:47:26.635" v="0" actId="47"/>
        <pc:sldMkLst>
          <pc:docMk/>
          <pc:sldMk cId="2844382326" sldId="415"/>
        </pc:sldMkLst>
      </pc:sldChg>
      <pc:sldChg chg="del">
        <pc:chgData name="Meyer Raphael (PAR-ES)" userId="79615dfe-ed48-4e74-a40f-4f7b034c1c27" providerId="ADAL" clId="{38AF8AF8-3015-4A40-885D-1810E82E92DA}" dt="2022-03-09T15:47:26.635" v="0" actId="47"/>
        <pc:sldMkLst>
          <pc:docMk/>
          <pc:sldMk cId="2251798312" sldId="416"/>
        </pc:sldMkLst>
      </pc:sldChg>
      <pc:sldChg chg="del">
        <pc:chgData name="Meyer Raphael (PAR-ES)" userId="79615dfe-ed48-4e74-a40f-4f7b034c1c27" providerId="ADAL" clId="{38AF8AF8-3015-4A40-885D-1810E82E92DA}" dt="2022-03-09T15:47:26.635" v="0" actId="47"/>
        <pc:sldMkLst>
          <pc:docMk/>
          <pc:sldMk cId="1913231849" sldId="417"/>
        </pc:sldMkLst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247BE269-E262-497B-A794-CF645B369F21}"/>
    <pc:docChg chg="custSel modSld">
      <pc:chgData name="Meyer Raphael (PAR-ES)" userId="79615dfe-ed48-4e74-a40f-4f7b034c1c27" providerId="ADAL" clId="{247BE269-E262-497B-A794-CF645B369F21}" dt="2023-03-10T13:34:56.934" v="19" actId="27918"/>
      <pc:docMkLst>
        <pc:docMk/>
      </pc:docMkLst>
      <pc:sldChg chg="modSp mod">
        <pc:chgData name="Meyer Raphael (PAR-ES)" userId="79615dfe-ed48-4e74-a40f-4f7b034c1c27" providerId="ADAL" clId="{247BE269-E262-497B-A794-CF645B369F21}" dt="2023-03-10T13:34:56.934" v="19" actId="27918"/>
        <pc:sldMkLst>
          <pc:docMk/>
          <pc:sldMk cId="3865012081" sldId="415"/>
        </pc:sldMkLst>
        <pc:spChg chg="mod">
          <ac:chgData name="Meyer Raphael (PAR-ES)" userId="79615dfe-ed48-4e74-a40f-4f7b034c1c27" providerId="ADAL" clId="{247BE269-E262-497B-A794-CF645B369F21}" dt="2023-03-10T13:33:46.878" v="10"/>
          <ac:spMkLst>
            <pc:docMk/>
            <pc:sldMk cId="3865012081" sldId="415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247BE269-E262-497B-A794-CF645B369F21}" dt="2023-03-10T13:31:52.425" v="7"/>
          <ac:spMkLst>
            <pc:docMk/>
            <pc:sldMk cId="3865012081" sldId="415"/>
            <ac:spMk id="11" creationId="{45495507-A500-4876-A7D7-039B7559AD0C}"/>
          </ac:spMkLst>
        </pc:spChg>
        <pc:spChg chg="mod">
          <ac:chgData name="Meyer Raphael (PAR-ES)" userId="79615dfe-ed48-4e74-a40f-4f7b034c1c27" providerId="ADAL" clId="{247BE269-E262-497B-A794-CF645B369F21}" dt="2023-03-10T13:33:54.752" v="16" actId="20577"/>
          <ac:spMkLst>
            <pc:docMk/>
            <pc:sldMk cId="3865012081" sldId="415"/>
            <ac:spMk id="12" creationId="{1A4657D7-3337-475E-8E67-E8F468A949AF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5381B09C-6CC7-4512-B6AD-055336C6B097}"/>
    <pc:docChg chg="delSld">
      <pc:chgData name="Meyer Raphael (PAR-ES)" userId="79615dfe-ed48-4e74-a40f-4f7b034c1c27" providerId="ADAL" clId="{5381B09C-6CC7-4512-B6AD-055336C6B097}" dt="2021-11-08T11:32:43.108" v="0" actId="47"/>
      <pc:docMkLst>
        <pc:docMk/>
      </pc:docMkLst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3677740869" sldId="271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963209825" sldId="272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065586608" sldId="273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F606B207-8952-4A43-A7BE-98A2DD852393}"/>
    <pc:docChg chg="modSld">
      <pc:chgData name="Meyer Raphael (PAR-ES)" userId="79615dfe-ed48-4e74-a40f-4f7b034c1c27" providerId="ADAL" clId="{F606B207-8952-4A43-A7BE-98A2DD852393}" dt="2021-11-04T13:14:52.704" v="3" actId="14100"/>
      <pc:docMkLst>
        <pc:docMk/>
      </pc:docMkLst>
      <pc:sldChg chg="modSp">
        <pc:chgData name="Meyer Raphael (PAR-ES)" userId="79615dfe-ed48-4e74-a40f-4f7b034c1c27" providerId="ADAL" clId="{F606B207-8952-4A43-A7BE-98A2DD852393}" dt="2021-11-04T13:14:38.157" v="0" actId="14100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F606B207-8952-4A43-A7BE-98A2DD852393}" dt="2021-11-04T13:14:38.157" v="0" actId="14100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3.918" v="1" actId="14100"/>
        <pc:sldMkLst>
          <pc:docMk/>
          <pc:sldMk cId="3677740869" sldId="271"/>
        </pc:sldMkLst>
        <pc:graphicFrameChg chg="mod">
          <ac:chgData name="Meyer Raphael (PAR-ES)" userId="79615dfe-ed48-4e74-a40f-4f7b034c1c27" providerId="ADAL" clId="{F606B207-8952-4A43-A7BE-98A2DD852393}" dt="2021-11-04T13:14:43.918" v="1" actId="14100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8.679" v="2" actId="14100"/>
        <pc:sldMkLst>
          <pc:docMk/>
          <pc:sldMk cId="1963209825" sldId="272"/>
        </pc:sldMkLst>
        <pc:graphicFrameChg chg="mod">
          <ac:chgData name="Meyer Raphael (PAR-ES)" userId="79615dfe-ed48-4e74-a40f-4f7b034c1c27" providerId="ADAL" clId="{F606B207-8952-4A43-A7BE-98A2DD852393}" dt="2021-11-04T13:14:48.679" v="2" actId="14100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52.704" v="3" actId="14100"/>
        <pc:sldMkLst>
          <pc:docMk/>
          <pc:sldMk cId="1065586608" sldId="273"/>
        </pc:sldMkLst>
        <pc:graphicFrameChg chg="mod">
          <ac:chgData name="Meyer Raphael (PAR-ES)" userId="79615dfe-ed48-4e74-a40f-4f7b034c1c27" providerId="ADAL" clId="{F606B207-8952-4A43-A7BE-98A2DD852393}" dt="2021-11-04T13:14:52.704" v="3" actId="14100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30915228494009"/>
          <c:y val="0.14626622080055754"/>
          <c:w val="0.79430876353508262"/>
          <c:h val="0.60467252077202216"/>
        </c:manualLayout>
      </c:layout>
      <c:barChart>
        <c:barDir val="col"/>
        <c:grouping val="stacked"/>
        <c:varyColors val="0"/>
        <c:ser>
          <c:idx val="2"/>
          <c:order val="0"/>
          <c:tx>
            <c:strRef>
              <c:f>data!$C$8</c:f>
              <c:strCache>
                <c:ptCount val="1"/>
                <c:pt idx="0">
                  <c:v>EasyRide</c:v>
                </c:pt>
              </c:strCache>
            </c:strRef>
          </c:tx>
          <c:spPr>
            <a:solidFill>
              <a:schemeClr val="accent4">
                <a:lumMod val="90000"/>
              </a:schemeClr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C$9:$C$19</c:f>
              <c:numCache>
                <c:formatCode>0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4.7301999999999997E-2</c:v>
                </c:pt>
                <c:pt idx="5">
                  <c:v>0.80418599999999996</c:v>
                </c:pt>
                <c:pt idx="6">
                  <c:v>3.9528020000000001</c:v>
                </c:pt>
                <c:pt idx="7">
                  <c:v>9.4050329999999995</c:v>
                </c:pt>
                <c:pt idx="8">
                  <c:v>17.491479000000002</c:v>
                </c:pt>
                <c:pt idx="9">
                  <c:v>23.327812000000002</c:v>
                </c:pt>
                <c:pt idx="10">
                  <c:v>31.141587000000001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4-B853-422A-9B9D-A6EAA6FFB23D}"/>
            </c:ext>
          </c:extLst>
        </c:ser>
        <c:ser>
          <c:idx val="0"/>
          <c:order val="1"/>
          <c:tx>
            <c:strRef>
              <c:f>data!$D$8</c:f>
              <c:strCache>
                <c:ptCount val="1"/>
                <c:pt idx="0">
                  <c:v>FFS.ch e Mobile FFS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853-422A-9B9D-A6EAA6FFB23D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D$9:$D$19</c:f>
              <c:numCache>
                <c:formatCode>0</c:formatCode>
                <c:ptCount val="11"/>
                <c:pt idx="0">
                  <c:v>13.118081</c:v>
                </c:pt>
                <c:pt idx="1">
                  <c:v>17.974157000000002</c:v>
                </c:pt>
                <c:pt idx="2">
                  <c:v>24.389900000000001</c:v>
                </c:pt>
                <c:pt idx="3">
                  <c:v>32.353721</c:v>
                </c:pt>
                <c:pt idx="4">
                  <c:v>44.220541999999995</c:v>
                </c:pt>
                <c:pt idx="5">
                  <c:v>64.436859999999996</c:v>
                </c:pt>
                <c:pt idx="6">
                  <c:v>51.198005000000002</c:v>
                </c:pt>
                <c:pt idx="7">
                  <c:v>73.108429000000001</c:v>
                </c:pt>
                <c:pt idx="8">
                  <c:v>104.073866</c:v>
                </c:pt>
                <c:pt idx="9">
                  <c:v>126.675342</c:v>
                </c:pt>
                <c:pt idx="10">
                  <c:v>143.516803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53-422A-9B9D-A6EAA6FFB23D}"/>
            </c:ext>
          </c:extLst>
        </c:ser>
        <c:ser>
          <c:idx val="1"/>
          <c:order val="2"/>
          <c:tx>
            <c:strRef>
              <c:f>data!$E$8</c:f>
              <c:strCache>
                <c:ptCount val="1"/>
                <c:pt idx="0">
                  <c:v>Distributori di biglietti</c:v>
                </c:pt>
              </c:strCache>
            </c:strRef>
          </c:tx>
          <c:spPr>
            <a:solidFill>
              <a:srgbClr val="767676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E$9:$E$19</c:f>
              <c:numCache>
                <c:formatCode>0</c:formatCode>
                <c:ptCount val="11"/>
                <c:pt idx="0">
                  <c:v>48.869484999999997</c:v>
                </c:pt>
                <c:pt idx="1">
                  <c:v>47.893855000000002</c:v>
                </c:pt>
                <c:pt idx="2">
                  <c:v>49.305990000000001</c:v>
                </c:pt>
                <c:pt idx="3">
                  <c:v>48.396062999999998</c:v>
                </c:pt>
                <c:pt idx="4">
                  <c:v>46.495206000000003</c:v>
                </c:pt>
                <c:pt idx="5">
                  <c:v>42.206930999999997</c:v>
                </c:pt>
                <c:pt idx="6">
                  <c:v>24.688984000000001</c:v>
                </c:pt>
                <c:pt idx="7">
                  <c:v>24.878795</c:v>
                </c:pt>
                <c:pt idx="8">
                  <c:v>28.877310000000001</c:v>
                </c:pt>
                <c:pt idx="9">
                  <c:v>27.097303</c:v>
                </c:pt>
                <c:pt idx="10">
                  <c:v>24.15661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53-422A-9B9D-A6EAA6FFB23D}"/>
            </c:ext>
          </c:extLst>
        </c:ser>
        <c:ser>
          <c:idx val="4"/>
          <c:order val="3"/>
          <c:tx>
            <c:strRef>
              <c:f>data!$F$8</c:f>
              <c:strCache>
                <c:ptCount val="1"/>
                <c:pt idx="0">
                  <c:v>Centri viaggiatori</c:v>
                </c:pt>
              </c:strCache>
            </c:strRef>
          </c:tx>
          <c:spPr>
            <a:solidFill>
              <a:srgbClr val="5A5A5A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F$9:$F$19</c:f>
              <c:numCache>
                <c:formatCode>0</c:formatCode>
                <c:ptCount val="11"/>
                <c:pt idx="0">
                  <c:v>20.913478999999999</c:v>
                </c:pt>
                <c:pt idx="1">
                  <c:v>19.757598999999999</c:v>
                </c:pt>
                <c:pt idx="2">
                  <c:v>15.980143999999999</c:v>
                </c:pt>
                <c:pt idx="3">
                  <c:v>14.588436</c:v>
                </c:pt>
                <c:pt idx="4">
                  <c:v>12.655569</c:v>
                </c:pt>
                <c:pt idx="5">
                  <c:v>11.47528</c:v>
                </c:pt>
                <c:pt idx="6">
                  <c:v>5.9818119999999997</c:v>
                </c:pt>
                <c:pt idx="7">
                  <c:v>6.406377</c:v>
                </c:pt>
                <c:pt idx="8">
                  <c:v>8.9507290000000008</c:v>
                </c:pt>
                <c:pt idx="9">
                  <c:v>9.2324219999999997</c:v>
                </c:pt>
                <c:pt idx="10">
                  <c:v>8.766420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890-400D-B174-6A57E646E29D}"/>
            </c:ext>
          </c:extLst>
        </c:ser>
        <c:ser>
          <c:idx val="3"/>
          <c:order val="4"/>
          <c:tx>
            <c:strRef>
              <c:f>data!$G$8</c:f>
              <c:strCache>
                <c:ptCount val="1"/>
                <c:pt idx="0">
                  <c:v>Altro</c:v>
                </c:pt>
              </c:strCache>
            </c:strRef>
          </c:tx>
          <c:spPr>
            <a:solidFill>
              <a:srgbClr val="444444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G$9:$G$19</c:f>
              <c:numCache>
                <c:formatCode>0</c:formatCode>
                <c:ptCount val="11"/>
                <c:pt idx="0">
                  <c:v>2.1447330000000058</c:v>
                </c:pt>
                <c:pt idx="1">
                  <c:v>1.9853100000000019</c:v>
                </c:pt>
                <c:pt idx="2">
                  <c:v>2.7727089999999954</c:v>
                </c:pt>
                <c:pt idx="3">
                  <c:v>3.5255739999999989</c:v>
                </c:pt>
                <c:pt idx="4">
                  <c:v>3.9583979999999954</c:v>
                </c:pt>
                <c:pt idx="5">
                  <c:v>4.7055430000000058</c:v>
                </c:pt>
                <c:pt idx="6">
                  <c:v>3.9473689999999948</c:v>
                </c:pt>
                <c:pt idx="7">
                  <c:v>4.2629159999999899</c:v>
                </c:pt>
                <c:pt idx="8">
                  <c:v>5.5397880000000299</c:v>
                </c:pt>
                <c:pt idx="9">
                  <c:v>6.5444120000000225</c:v>
                </c:pt>
                <c:pt idx="10">
                  <c:v>7.72724399999998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68F-4D85-A5AC-7762F62740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6041216"/>
        <c:axId val="96043008"/>
        <c:extLst/>
      </c:barChart>
      <c:catAx>
        <c:axId val="96041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chemeClr val="tx2"/>
            </a:solidFill>
          </a:ln>
        </c:spPr>
        <c:txPr>
          <a:bodyPr rot="0" vert="horz"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96043008"/>
        <c:crosses val="autoZero"/>
        <c:auto val="1"/>
        <c:lblAlgn val="ctr"/>
        <c:lblOffset val="100"/>
        <c:noMultiLvlLbl val="0"/>
      </c:catAx>
      <c:valAx>
        <c:axId val="96043008"/>
        <c:scaling>
          <c:orientation val="minMax"/>
          <c:max val="250"/>
          <c:min val="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96041216"/>
        <c:crosses val="autoZero"/>
        <c:crossBetween val="between"/>
        <c:majorUnit val="50"/>
      </c:valAx>
    </c:plotArea>
    <c:legend>
      <c:legendPos val="b"/>
      <c:layout>
        <c:manualLayout>
          <c:xMode val="edge"/>
          <c:yMode val="edge"/>
          <c:x val="0.11944452326273002"/>
          <c:y val="0.81846637485729923"/>
          <c:w val="0.60351797837061583"/>
          <c:h val="9.4409791314303007E-2"/>
        </c:manualLayout>
      </c:layout>
      <c:overlay val="0"/>
      <c:txPr>
        <a:bodyPr/>
        <a:lstStyle/>
        <a:p>
          <a:pPr>
            <a:defRPr sz="1100">
              <a:solidFill>
                <a:schemeClr val="tx2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9461</cdr:x>
      <cdr:y>0.04696</cdr:y>
    </cdr:from>
    <cdr:to>
      <cdr:x>0.19391</cdr:x>
      <cdr:y>0.09309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1046974" y="246348"/>
          <a:ext cx="1098877" cy="24200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DE" sz="1100" dirty="0" err="1">
              <a:solidFill>
                <a:schemeClr val="tx2"/>
              </a:solidFill>
            </a:rPr>
            <a:t>mio</a:t>
          </a:r>
          <a:r>
            <a:rPr lang="de-DE" sz="1100" dirty="0">
              <a:solidFill>
                <a:schemeClr val="tx2"/>
              </a:solidFill>
            </a:rPr>
            <a:t> di </a:t>
          </a:r>
          <a:r>
            <a:rPr lang="de-DE" sz="1100" dirty="0" err="1">
              <a:solidFill>
                <a:schemeClr val="tx2"/>
              </a:solidFill>
            </a:rPr>
            <a:t>bigl</a:t>
          </a:r>
          <a:r>
            <a:rPr lang="de-DE" sz="1100" dirty="0">
              <a:solidFill>
                <a:schemeClr val="tx2"/>
              </a:solidFill>
            </a:rPr>
            <a:t>./</a:t>
          </a:r>
          <a:r>
            <a:rPr lang="de-DE" sz="1100" dirty="0" err="1">
              <a:solidFill>
                <a:schemeClr val="tx2"/>
              </a:solidFill>
            </a:rPr>
            <a:t>abb.</a:t>
          </a:r>
          <a:endParaRPr lang="de-DE" sz="1100" dirty="0">
            <a:solidFill>
              <a:schemeClr val="tx2"/>
            </a:solidFill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316274F-10EE-42B8-9812-7995639350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59" progId="TCLayout.ActiveDocument.1">
                  <p:embed/>
                </p:oleObj>
              </mc:Choice>
              <mc:Fallback>
                <p:oleObj name="think-cell Folie" r:id="rId5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316274F-10EE-42B8-9812-799563935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2CD79D1D-00A8-4538-BA52-D1C8BBD8082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164185434"/>
              </p:ext>
            </p:extLst>
          </p:nvPr>
        </p:nvGraphicFramePr>
        <p:xfrm>
          <a:off x="440514" y="1261472"/>
          <a:ext cx="11066242" cy="52461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A572A723-7466-42C5-BC49-15C6E380BE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</p:spPr>
        <p:txBody>
          <a:bodyPr/>
          <a:lstStyle/>
          <a:p>
            <a:r>
              <a:rPr lang="it-IT" dirty="0"/>
              <a:t>Vendita di biglietti per canale di vendita.</a:t>
            </a:r>
            <a:endParaRPr lang="de-CH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45495507-A500-4876-A7D7-039B7559AD0C}"/>
              </a:ext>
            </a:extLst>
          </p:cNvPr>
          <p:cNvSpPr txBox="1"/>
          <p:nvPr/>
        </p:nvSpPr>
        <p:spPr>
          <a:xfrm>
            <a:off x="2135331" y="6046398"/>
            <a:ext cx="8016328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Altro: rinnovo automatico degli abbonamenti, partner di distribuzione </a:t>
            </a: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e Contact Center FFS.</a:t>
            </a:r>
            <a:endParaRPr kumimoji="0" lang="it-IT" sz="11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BB Light"/>
              <a:ea typeface="+mn-ea"/>
              <a:cs typeface="Arial" pitchFamily="34" charset="0"/>
            </a:endParaRP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A4657D7-3337-475E-8E67-E8F468A949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738620" y="5709450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8650120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LGE5CWQXCaS3mOvkoEHA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30F4CFD-BA9A-434C-AA73-0449169507C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schemas.microsoft.com/office/2006/metadata/properties"/>
    <ds:schemaRef ds:uri="96e82a89-ba48-4728-b345-cf206dbec8f1"/>
    <ds:schemaRef ds:uri="http://purl.org/dc/terms/"/>
    <ds:schemaRef ds:uri="2f5c8543-cf23-4718-a3b8-32b0a91d511a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8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Vendita di biglietti per canale di vendita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endita di biglietti per canale di vendita.</dc:title>
  <dc:creator>Meyer Raphael (KOM-PGA-VSF)</dc:creator>
  <cp:lastModifiedBy>Stefan Weigel (PAR-EPS)</cp:lastModifiedBy>
  <cp:revision>24</cp:revision>
  <dcterms:created xsi:type="dcterms:W3CDTF">2020-09-30T11:00:09Z</dcterms:created>
  <dcterms:modified xsi:type="dcterms:W3CDTF">2025-02-24T13:02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